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02" r:id="rId5"/>
  </p:sldMasterIdLst>
  <p:notesMasterIdLst>
    <p:notesMasterId r:id="rId18"/>
  </p:notesMasterIdLst>
  <p:handoutMasterIdLst>
    <p:handoutMasterId r:id="rId19"/>
  </p:handoutMasterIdLst>
  <p:sldIdLst>
    <p:sldId id="2800" r:id="rId6"/>
    <p:sldId id="2825" r:id="rId7"/>
    <p:sldId id="2840" r:id="rId8"/>
    <p:sldId id="330" r:id="rId9"/>
    <p:sldId id="312" r:id="rId10"/>
    <p:sldId id="2883" r:id="rId11"/>
    <p:sldId id="2884" r:id="rId12"/>
    <p:sldId id="2880" r:id="rId13"/>
    <p:sldId id="2830" r:id="rId14"/>
    <p:sldId id="2881" r:id="rId15"/>
    <p:sldId id="345" r:id="rId16"/>
    <p:sldId id="2868" r:id="rId17"/>
  </p:sldIdLst>
  <p:sldSz cx="13444538" cy="756285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9" userDrawn="1">
          <p15:clr>
            <a:srgbClr val="A4A3A4"/>
          </p15:clr>
        </p15:guide>
        <p15:guide id="3" orient="horz" pos="4446" userDrawn="1">
          <p15:clr>
            <a:srgbClr val="A4A3A4"/>
          </p15:clr>
        </p15:guide>
        <p15:guide id="4" orient="horz" pos="2814" userDrawn="1">
          <p15:clr>
            <a:srgbClr val="A4A3A4"/>
          </p15:clr>
        </p15:guide>
        <p15:guide id="6" pos="1218" userDrawn="1">
          <p15:clr>
            <a:srgbClr val="A4A3A4"/>
          </p15:clr>
        </p15:guide>
        <p15:guide id="7" pos="7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AAC7"/>
    <a:srgbClr val="7A3E7F"/>
    <a:srgbClr val="95519E"/>
    <a:srgbClr val="9B5BA4"/>
    <a:srgbClr val="000000"/>
    <a:srgbClr val="D969CC"/>
    <a:srgbClr val="595959"/>
    <a:srgbClr val="D7CED8"/>
    <a:srgbClr val="9B4F96"/>
    <a:srgbClr val="B978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DE6E21-CB79-48EC-9460-CA4193405565}" v="1" dt="2021-07-07T14:56:02.58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85257"/>
  </p:normalViewPr>
  <p:slideViewPr>
    <p:cSldViewPr snapToGrid="0">
      <p:cViewPr>
        <p:scale>
          <a:sx n="72" d="100"/>
          <a:sy n="72" d="100"/>
        </p:scale>
        <p:origin x="363" y="-99"/>
      </p:cViewPr>
      <p:guideLst>
        <p:guide orient="horz" pos="1339"/>
        <p:guide orient="horz" pos="4446"/>
        <p:guide orient="horz" pos="2814"/>
        <p:guide pos="1218"/>
        <p:guide pos="7999"/>
      </p:guideLst>
    </p:cSldViewPr>
  </p:slideViewPr>
  <p:notesTextViewPr>
    <p:cViewPr>
      <p:scale>
        <a:sx n="60" d="100"/>
        <a:sy n="60" d="100"/>
      </p:scale>
      <p:origin x="0" y="0"/>
    </p:cViewPr>
  </p:notesTextViewPr>
  <p:sorterViewPr>
    <p:cViewPr>
      <p:scale>
        <a:sx n="126" d="100"/>
        <a:sy n="12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57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0D66-B6E6-45A5-B9B7-AB02254A7B48}" type="datetimeFigureOut">
              <a:rPr lang="en-GB" smtClean="0"/>
              <a:t>07/07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3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866BD-B001-4D41-BA7F-66D0D072012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492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941" y="1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667A17DA-1D83-2442-AC94-B79ADD33376A}" type="datetimeFigureOut">
              <a:rPr lang="en-US" smtClean="0"/>
              <a:t>7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172" y="4689724"/>
            <a:ext cx="5437332" cy="4443113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74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941" y="9377374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8D5C49B4-0496-1946-B93A-F1476E990D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53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074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999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55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843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522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6399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7493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0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69" y="371705"/>
            <a:ext cx="3290839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Insert document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5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details</a:t>
            </a:r>
          </a:p>
          <a:p>
            <a:pPr lvl="0"/>
            <a:r>
              <a:rPr lang="en-US"/>
              <a:t>Dates</a:t>
            </a:r>
          </a:p>
          <a:p>
            <a:pPr lvl="0"/>
            <a:r>
              <a:rPr lang="en-US"/>
              <a:t>Location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5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0" y="4364414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31253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7386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05200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7691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50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247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469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8946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7593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2211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565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2" y="4486279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5" y="5631848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6" y="4557548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6" y="5947437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15373813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73619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5501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50764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20834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64462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9880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0327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6647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802554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253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2548841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31372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8848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657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661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0864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35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5539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51948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517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751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726356" y="2954195"/>
            <a:ext cx="12470189" cy="1527342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201312" algn="l">
              <a:buClr>
                <a:schemeClr val="accent2">
                  <a:lumMod val="50000"/>
                </a:schemeClr>
              </a:buClr>
              <a:buFont typeface="Arial" pitchFamily="34" charset="0"/>
              <a:buChar char="•"/>
              <a:tabLst>
                <a:tab pos="201312" algn="l"/>
              </a:tabLst>
              <a:defRPr lang="en-US" sz="200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25132" y="1598643"/>
            <a:ext cx="11618530" cy="746700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0">
              <a:defRPr sz="4900" baseline="0">
                <a:solidFill>
                  <a:schemeClr val="tx2">
                    <a:lumMod val="50000"/>
                  </a:schemeClr>
                </a:solidFill>
                <a:latin typeface="Palatino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72227" y="302870"/>
            <a:ext cx="12100084" cy="509114"/>
          </a:xfrm>
          <a:prstGeom prst="rect">
            <a:avLst/>
          </a:prstGeom>
        </p:spPr>
        <p:txBody>
          <a:bodyPr lIns="100831" tIns="50415" rIns="100831" bIns="50415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6589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769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5740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02332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28043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336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998774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9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7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87808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7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02752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4404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53730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769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32512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1938909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7" y="-27879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47602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8213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5200377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66139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59783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79937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715568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353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2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53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282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62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1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88958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7653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975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0851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551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8788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4393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792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619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7525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163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0" y="1926717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19272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02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9442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4007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9958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0409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6839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6647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3136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209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090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2" y="1914525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9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6707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7006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530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9619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7184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5894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6057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6424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177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023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918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7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123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7240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0269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47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8291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8128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6663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95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1836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659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0186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1" y="1549146"/>
            <a:ext cx="11882437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60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9809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578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7696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8986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1160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09784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2304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910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4426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50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657766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383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10392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410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5636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7738655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715607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1598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2222755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9632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040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5"/>
            <a:ext cx="11880000" cy="2160587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7141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7278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4863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96753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9622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153603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4717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8914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4157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357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4376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94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9.xml"/><Relationship Id="rId117" Type="http://schemas.openxmlformats.org/officeDocument/2006/relationships/slideLayout" Target="../slideLayouts/slideLayout130.xml"/><Relationship Id="rId21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63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81.xml"/><Relationship Id="rId84" Type="http://schemas.openxmlformats.org/officeDocument/2006/relationships/slideLayout" Target="../slideLayouts/slideLayout97.xml"/><Relationship Id="rId89" Type="http://schemas.openxmlformats.org/officeDocument/2006/relationships/slideLayout" Target="../slideLayouts/slideLayout102.xml"/><Relationship Id="rId11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29.xml"/><Relationship Id="rId107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74" Type="http://schemas.openxmlformats.org/officeDocument/2006/relationships/slideLayout" Target="../slideLayouts/slideLayout87.xml"/><Relationship Id="rId79" Type="http://schemas.openxmlformats.org/officeDocument/2006/relationships/slideLayout" Target="../slideLayouts/slideLayout92.xml"/><Relationship Id="rId102" Type="http://schemas.openxmlformats.org/officeDocument/2006/relationships/slideLayout" Target="../slideLayouts/slideLayout115.xml"/><Relationship Id="rId123" Type="http://schemas.openxmlformats.org/officeDocument/2006/relationships/tags" Target="../tags/tag1.xml"/><Relationship Id="rId5" Type="http://schemas.openxmlformats.org/officeDocument/2006/relationships/slideLayout" Target="../slideLayouts/slideLayout18.xml"/><Relationship Id="rId90" Type="http://schemas.openxmlformats.org/officeDocument/2006/relationships/slideLayout" Target="../slideLayouts/slideLayout103.xml"/><Relationship Id="rId95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82.xml"/><Relationship Id="rId113" Type="http://schemas.openxmlformats.org/officeDocument/2006/relationships/slideLayout" Target="../slideLayouts/slideLayout126.xml"/><Relationship Id="rId118" Type="http://schemas.openxmlformats.org/officeDocument/2006/relationships/slideLayout" Target="../slideLayouts/slideLayout131.xml"/><Relationship Id="rId80" Type="http://schemas.openxmlformats.org/officeDocument/2006/relationships/slideLayout" Target="../slideLayouts/slideLayout93.xml"/><Relationship Id="rId85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72.xml"/><Relationship Id="rId103" Type="http://schemas.openxmlformats.org/officeDocument/2006/relationships/slideLayout" Target="../slideLayouts/slideLayout116.xml"/><Relationship Id="rId108" Type="http://schemas.openxmlformats.org/officeDocument/2006/relationships/slideLayout" Target="../slideLayouts/slideLayout121.xml"/><Relationship Id="rId124" Type="http://schemas.openxmlformats.org/officeDocument/2006/relationships/oleObject" Target="../embeddings/oleObject1.bin"/><Relationship Id="rId54" Type="http://schemas.openxmlformats.org/officeDocument/2006/relationships/slideLayout" Target="../slideLayouts/slideLayout67.xml"/><Relationship Id="rId70" Type="http://schemas.openxmlformats.org/officeDocument/2006/relationships/slideLayout" Target="../slideLayouts/slideLayout83.xml"/><Relationship Id="rId75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104.xml"/><Relationship Id="rId96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62.xml"/><Relationship Id="rId114" Type="http://schemas.openxmlformats.org/officeDocument/2006/relationships/slideLayout" Target="../slideLayouts/slideLayout127.xml"/><Relationship Id="rId119" Type="http://schemas.openxmlformats.org/officeDocument/2006/relationships/slideLayout" Target="../slideLayouts/slideLayout132.xml"/><Relationship Id="rId44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94.xml"/><Relationship Id="rId86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52.xml"/><Relationship Id="rId109" Type="http://schemas.openxmlformats.org/officeDocument/2006/relationships/slideLayout" Target="../slideLayouts/slideLayout122.xml"/><Relationship Id="rId34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89.xml"/><Relationship Id="rId97" Type="http://schemas.openxmlformats.org/officeDocument/2006/relationships/slideLayout" Target="../slideLayouts/slideLayout110.xml"/><Relationship Id="rId104" Type="http://schemas.openxmlformats.org/officeDocument/2006/relationships/slideLayout" Target="../slideLayouts/slideLayout117.xml"/><Relationship Id="rId120" Type="http://schemas.openxmlformats.org/officeDocument/2006/relationships/slideLayout" Target="../slideLayouts/slideLayout133.xml"/><Relationship Id="rId125" Type="http://schemas.openxmlformats.org/officeDocument/2006/relationships/image" Target="../media/image3.emf"/><Relationship Id="rId7" Type="http://schemas.openxmlformats.org/officeDocument/2006/relationships/slideLayout" Target="../slideLayouts/slideLayout20.xml"/><Relationship Id="rId71" Type="http://schemas.openxmlformats.org/officeDocument/2006/relationships/slideLayout" Target="../slideLayouts/slideLayout84.xml"/><Relationship Id="rId9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5.xml"/><Relationship Id="rId29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100.xml"/><Relationship Id="rId110" Type="http://schemas.openxmlformats.org/officeDocument/2006/relationships/slideLayout" Target="../slideLayouts/slideLayout123.xml"/><Relationship Id="rId115" Type="http://schemas.openxmlformats.org/officeDocument/2006/relationships/slideLayout" Target="../slideLayouts/slideLayout128.xml"/><Relationship Id="rId61" Type="http://schemas.openxmlformats.org/officeDocument/2006/relationships/slideLayout" Target="../slideLayouts/slideLayout74.xml"/><Relationship Id="rId82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90.xml"/><Relationship Id="rId100" Type="http://schemas.openxmlformats.org/officeDocument/2006/relationships/slideLayout" Target="../slideLayouts/slideLayout113.xml"/><Relationship Id="rId105" Type="http://schemas.openxmlformats.org/officeDocument/2006/relationships/slideLayout" Target="../slideLayouts/slideLayout118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72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106.xml"/><Relationship Id="rId98" Type="http://schemas.openxmlformats.org/officeDocument/2006/relationships/slideLayout" Target="../slideLayouts/slideLayout111.xml"/><Relationship Id="rId121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6.xml"/><Relationship Id="rId25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80.xml"/><Relationship Id="rId1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96.xml"/><Relationship Id="rId88" Type="http://schemas.openxmlformats.org/officeDocument/2006/relationships/slideLayout" Target="../slideLayouts/slideLayout101.xml"/><Relationship Id="rId111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70.xml"/><Relationship Id="rId106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86.xml"/><Relationship Id="rId78" Type="http://schemas.openxmlformats.org/officeDocument/2006/relationships/slideLayout" Target="../slideLayouts/slideLayout91.xml"/><Relationship Id="rId94" Type="http://schemas.openxmlformats.org/officeDocument/2006/relationships/slideLayout" Target="../slideLayouts/slideLayout107.xml"/><Relationship Id="rId99" Type="http://schemas.openxmlformats.org/officeDocument/2006/relationships/slideLayout" Target="../slideLayouts/slideLayout112.xml"/><Relationship Id="rId101" Type="http://schemas.openxmlformats.org/officeDocument/2006/relationships/slideLayout" Target="../slideLayouts/slideLayout114.xml"/><Relationship Id="rId122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0" r:id="rId2"/>
    <p:sldLayoutId id="2147483682" r:id="rId3"/>
    <p:sldLayoutId id="2147483693" r:id="rId4"/>
    <p:sldLayoutId id="2147483692" r:id="rId5"/>
    <p:sldLayoutId id="2147483690" r:id="rId6"/>
    <p:sldLayoutId id="2147483696" r:id="rId7"/>
    <p:sldLayoutId id="2147483694" r:id="rId8"/>
    <p:sldLayoutId id="2147483665" r:id="rId9"/>
    <p:sldLayoutId id="2147483685" r:id="rId10"/>
    <p:sldLayoutId id="2147483687" r:id="rId11"/>
    <p:sldLayoutId id="2147483697" r:id="rId12"/>
    <p:sldLayoutId id="2147483699" r:id="rId13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299715644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47" imgH="348" progId="TCLayout.ActiveDocument.1">
                  <p:embed/>
                </p:oleObj>
              </mc:Choice>
              <mc:Fallback>
                <p:oleObj name="think-cell Slide" r:id="rId12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/>
              <a:t>7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/>
              <a:t>‹#›</a:t>
            </a:fld>
            <a:endParaRPr lang="en-US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6613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  <p:sldLayoutId id="2147483752" r:id="rId50"/>
    <p:sldLayoutId id="2147483753" r:id="rId51"/>
    <p:sldLayoutId id="2147483754" r:id="rId52"/>
    <p:sldLayoutId id="2147483755" r:id="rId53"/>
    <p:sldLayoutId id="2147483756" r:id="rId54"/>
    <p:sldLayoutId id="2147483757" r:id="rId55"/>
    <p:sldLayoutId id="2147483758" r:id="rId56"/>
    <p:sldLayoutId id="2147483759" r:id="rId57"/>
    <p:sldLayoutId id="2147483760" r:id="rId58"/>
    <p:sldLayoutId id="2147483761" r:id="rId59"/>
    <p:sldLayoutId id="2147483762" r:id="rId60"/>
    <p:sldLayoutId id="2147483763" r:id="rId61"/>
    <p:sldLayoutId id="2147483764" r:id="rId62"/>
    <p:sldLayoutId id="2147483765" r:id="rId63"/>
    <p:sldLayoutId id="2147483766" r:id="rId64"/>
    <p:sldLayoutId id="2147483767" r:id="rId65"/>
    <p:sldLayoutId id="2147483768" r:id="rId66"/>
    <p:sldLayoutId id="2147483769" r:id="rId67"/>
    <p:sldLayoutId id="2147483770" r:id="rId68"/>
    <p:sldLayoutId id="2147483771" r:id="rId69"/>
    <p:sldLayoutId id="2147483772" r:id="rId70"/>
    <p:sldLayoutId id="2147483773" r:id="rId71"/>
    <p:sldLayoutId id="2147483774" r:id="rId72"/>
    <p:sldLayoutId id="2147483775" r:id="rId73"/>
    <p:sldLayoutId id="2147483776" r:id="rId74"/>
    <p:sldLayoutId id="2147483777" r:id="rId75"/>
    <p:sldLayoutId id="2147483778" r:id="rId76"/>
    <p:sldLayoutId id="2147483779" r:id="rId77"/>
    <p:sldLayoutId id="2147483780" r:id="rId78"/>
    <p:sldLayoutId id="2147483781" r:id="rId79"/>
    <p:sldLayoutId id="2147483782" r:id="rId80"/>
    <p:sldLayoutId id="2147483783" r:id="rId81"/>
    <p:sldLayoutId id="2147483784" r:id="rId82"/>
    <p:sldLayoutId id="2147483785" r:id="rId83"/>
    <p:sldLayoutId id="2147483786" r:id="rId84"/>
    <p:sldLayoutId id="2147483787" r:id="rId85"/>
    <p:sldLayoutId id="2147483788" r:id="rId86"/>
    <p:sldLayoutId id="2147483789" r:id="rId87"/>
    <p:sldLayoutId id="2147483790" r:id="rId88"/>
    <p:sldLayoutId id="2147483791" r:id="rId89"/>
    <p:sldLayoutId id="2147483792" r:id="rId90"/>
    <p:sldLayoutId id="2147483793" r:id="rId91"/>
    <p:sldLayoutId id="2147483794" r:id="rId92"/>
    <p:sldLayoutId id="2147483795" r:id="rId93"/>
    <p:sldLayoutId id="2147483796" r:id="rId94"/>
    <p:sldLayoutId id="2147483797" r:id="rId95"/>
    <p:sldLayoutId id="2147483798" r:id="rId96"/>
    <p:sldLayoutId id="2147483799" r:id="rId97"/>
    <p:sldLayoutId id="2147483800" r:id="rId98"/>
    <p:sldLayoutId id="2147483801" r:id="rId99"/>
    <p:sldLayoutId id="2147483802" r:id="rId100"/>
    <p:sldLayoutId id="2147483803" r:id="rId101"/>
    <p:sldLayoutId id="2147483804" r:id="rId102"/>
    <p:sldLayoutId id="2147483805" r:id="rId103"/>
    <p:sldLayoutId id="2147483806" r:id="rId104"/>
    <p:sldLayoutId id="2147483807" r:id="rId105"/>
    <p:sldLayoutId id="2147483808" r:id="rId106"/>
    <p:sldLayoutId id="2147483809" r:id="rId107"/>
    <p:sldLayoutId id="2147483810" r:id="rId108"/>
    <p:sldLayoutId id="2147483811" r:id="rId109"/>
    <p:sldLayoutId id="2147483812" r:id="rId110"/>
    <p:sldLayoutId id="2147483813" r:id="rId111"/>
    <p:sldLayoutId id="2147483814" r:id="rId112"/>
    <p:sldLayoutId id="2147483815" r:id="rId113"/>
    <p:sldLayoutId id="2147483816" r:id="rId114"/>
    <p:sldLayoutId id="2147483817" r:id="rId115"/>
    <p:sldLayoutId id="2147483818" r:id="rId116"/>
    <p:sldLayoutId id="2147483819" r:id="rId117"/>
    <p:sldLayoutId id="2147483820" r:id="rId118"/>
    <p:sldLayoutId id="2147483821" r:id="rId119"/>
    <p:sldLayoutId id="2147483822" r:id="rId120"/>
    <p:sldLayoutId id="2147483823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Text, letter&#10;&#10;Description automatically generated">
            <a:extLst>
              <a:ext uri="{FF2B5EF4-FFF2-40B4-BE49-F238E27FC236}">
                <a16:creationId xmlns:a16="http://schemas.microsoft.com/office/drawing/2014/main" id="{F917081D-A1B1-413D-86E9-D0B9254D697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duotone>
              <a:prstClr val="black"/>
              <a:srgbClr val="C5AAC7">
                <a:tint val="45000"/>
                <a:satMod val="400000"/>
              </a:srgbClr>
            </a:duotone>
          </a:blip>
          <a:srcRect t="7815" b="7815"/>
          <a:stretch>
            <a:fillRect/>
          </a:stretch>
        </p:blipFill>
        <p:spPr/>
      </p:pic>
      <p:sp>
        <p:nvSpPr>
          <p:cNvPr id="4" name="Round Single Corner Rectangle 4">
            <a:extLst>
              <a:ext uri="{FF2B5EF4-FFF2-40B4-BE49-F238E27FC236}">
                <a16:creationId xmlns:a16="http://schemas.microsoft.com/office/drawing/2014/main" id="{F572D5CC-A2DF-4D33-8B9A-1DB9A4936878}"/>
              </a:ext>
            </a:extLst>
          </p:cNvPr>
          <p:cNvSpPr/>
          <p:nvPr/>
        </p:nvSpPr>
        <p:spPr>
          <a:xfrm>
            <a:off x="0" y="-34115"/>
            <a:ext cx="5334915" cy="4294079"/>
          </a:xfrm>
          <a:prstGeom prst="round1Rect">
            <a:avLst/>
          </a:prstGeom>
          <a:solidFill>
            <a:srgbClr val="7A3E7F">
              <a:alpha val="5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4" descr="A close up of a sign&#10;&#10;Description generated with high confidence">
            <a:extLst>
              <a:ext uri="{FF2B5EF4-FFF2-40B4-BE49-F238E27FC236}">
                <a16:creationId xmlns:a16="http://schemas.microsoft.com/office/drawing/2014/main" id="{54C30292-1ABB-4DE4-BDA5-775C7F13E7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290839" cy="120516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886E60C-D6B6-476F-8669-CE4A7CE5C1B9}"/>
              </a:ext>
            </a:extLst>
          </p:cNvPr>
          <p:cNvSpPr txBox="1">
            <a:spLocks/>
          </p:cNvSpPr>
          <p:nvPr/>
        </p:nvSpPr>
        <p:spPr>
          <a:xfrm>
            <a:off x="290379" y="1654652"/>
            <a:ext cx="4864717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Becoming a more assertive version of yoursel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83048-6B95-4EEF-8085-6155ADA9459F}"/>
              </a:ext>
            </a:extLst>
          </p:cNvPr>
          <p:cNvSpPr txBox="1">
            <a:spLocks/>
          </p:cNvSpPr>
          <p:nvPr/>
        </p:nvSpPr>
        <p:spPr>
          <a:xfrm>
            <a:off x="290379" y="3323153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kern="0" dirty="0">
                <a:solidFill>
                  <a:sysClr val="window" lastClr="FFFFFF"/>
                </a:solidFill>
              </a:rPr>
              <a:t>21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 July 202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68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96C2F2-4F35-4B4E-B9B9-70BAEDE7014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How to be more assert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B9259F-937F-404F-B59B-ED187E4ACF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The mindset of assertive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Body language of assertive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‘I’ vs. ‘you’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Always, never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Adult </a:t>
            </a:r>
            <a:r>
              <a:rPr lang="en-GB" sz="2000" dirty="0" err="1"/>
              <a:t>adult</a:t>
            </a:r>
            <a:r>
              <a:rPr lang="en-GB" sz="2000" dirty="0"/>
              <a:t>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You ALWAYS have a choice.</a:t>
            </a:r>
          </a:p>
          <a:p>
            <a:pPr marL="457200" lvl="0" indent="-457200">
              <a:lnSpc>
                <a:spcPct val="150000"/>
              </a:lnSpc>
              <a:buAutoNum type="arabicPeriod"/>
            </a:pPr>
            <a:r>
              <a:rPr lang="en-GB" sz="2000" dirty="0"/>
              <a:t>PAUSE.</a:t>
            </a:r>
          </a:p>
          <a:p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26D61EE-9935-48A2-A126-859D9AC29DA4}"/>
              </a:ext>
            </a:extLst>
          </p:cNvPr>
          <p:cNvSpPr txBox="1">
            <a:spLocks/>
          </p:cNvSpPr>
          <p:nvPr/>
        </p:nvSpPr>
        <p:spPr>
          <a:xfrm>
            <a:off x="11104976" y="7048137"/>
            <a:ext cx="1738769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 dirty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Placeholder 8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592AAB4A-97AD-4646-9C8E-68B4E5FACFF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3748" r="374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752252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24B92FF5-2D35-48EE-84C6-3E39ABD4E9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159" b="2159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4AD0A5-5815-D844-AD37-A6F496A24043}"/>
              </a:ext>
            </a:extLst>
          </p:cNvPr>
          <p:cNvSpPr txBox="1"/>
          <p:nvPr/>
        </p:nvSpPr>
        <p:spPr>
          <a:xfrm>
            <a:off x="2065503" y="478000"/>
            <a:ext cx="9313532" cy="729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3000"/>
              </a:lnSpc>
            </a:pPr>
            <a:r>
              <a:rPr lang="en-GB" altLang="en-US" sz="3200">
                <a:solidFill>
                  <a:schemeClr val="bg1"/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7720862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D4516-7CB5-4EEB-81B1-1532D25155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Dates for your diary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19AB6C2-F5D6-4235-A9CF-5CED99A41D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269346"/>
              </p:ext>
            </p:extLst>
          </p:nvPr>
        </p:nvGraphicFramePr>
        <p:xfrm>
          <a:off x="785670" y="1967195"/>
          <a:ext cx="8069339" cy="41176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5155">
                  <a:extLst>
                    <a:ext uri="{9D8B030D-6E8A-4147-A177-3AD203B41FA5}">
                      <a16:colId xmlns:a16="http://schemas.microsoft.com/office/drawing/2014/main" val="57637679"/>
                    </a:ext>
                  </a:extLst>
                </a:gridCol>
                <a:gridCol w="958216">
                  <a:extLst>
                    <a:ext uri="{9D8B030D-6E8A-4147-A177-3AD203B41FA5}">
                      <a16:colId xmlns:a16="http://schemas.microsoft.com/office/drawing/2014/main" val="3930799977"/>
                    </a:ext>
                  </a:extLst>
                </a:gridCol>
                <a:gridCol w="5235968">
                  <a:extLst>
                    <a:ext uri="{9D8B030D-6E8A-4147-A177-3AD203B41FA5}">
                      <a16:colId xmlns:a16="http://schemas.microsoft.com/office/drawing/2014/main" val="29856892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Time (B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6854572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7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Jul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6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How to build more meaningful connections with oth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9520306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Augu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2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The jugg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11978998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0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ugu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0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Self-coaching: becoming your own biggest advocat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075033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9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ugu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1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Change-makers: are you just weird enough?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3119842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24</a:t>
                      </a:r>
                      <a:r>
                        <a:rPr lang="en-US" baseline="30000" dirty="0"/>
                        <a:t>th</a:t>
                      </a:r>
                      <a:r>
                        <a:rPr lang="en-US" dirty="0"/>
                        <a:t> Augu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4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Creating a healthy culture in a hybrid working worl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2307754"/>
                  </a:ext>
                </a:extLst>
              </a:tr>
              <a:tr h="57959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dirty="0"/>
                        <a:t>1</a:t>
                      </a:r>
                      <a:r>
                        <a:rPr lang="en-US" baseline="30000" dirty="0"/>
                        <a:t>st</a:t>
                      </a:r>
                      <a:r>
                        <a:rPr lang="en-US" dirty="0"/>
                        <a:t> Septemb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600" dirty="0"/>
                        <a:t>14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600" dirty="0"/>
                        <a:t>Good grief: Coping with bereavement, disappointment, and lo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28720473"/>
                  </a:ext>
                </a:extLst>
              </a:tr>
            </a:tbl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2780A45-E5F4-4983-A54A-11AF556DDFD0}"/>
              </a:ext>
            </a:extLst>
          </p:cNvPr>
          <p:cNvSpPr txBox="1">
            <a:spLocks/>
          </p:cNvSpPr>
          <p:nvPr/>
        </p:nvSpPr>
        <p:spPr>
          <a:xfrm>
            <a:off x="399520" y="7048137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Placeholder 8" descr="Calendar&#10;&#10;Description automatically generated">
            <a:extLst>
              <a:ext uri="{FF2B5EF4-FFF2-40B4-BE49-F238E27FC236}">
                <a16:creationId xmlns:a16="http://schemas.microsoft.com/office/drawing/2014/main" id="{2D15FDB2-8204-4FAC-A76E-0E8A8C40928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37509" t="-661" r="30211" b="661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4003965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D52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+mn-cs"/>
              </a:rPr>
              <a:t>Rebecca Lewi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3A1D3C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A1D3C">
                    <a:lumMod val="90000"/>
                    <a:lumOff val="10000"/>
                  </a:srgbClr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Avenir Next" charset="0"/>
              </a:rPr>
              <a:t>Content Directo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74D52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venir Next Demi Bold" charset="0"/>
              </a:rPr>
              <a:t>rebecca@everywoman.com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85269A3-6B31-453C-A580-CECA8D9505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797" y="2360638"/>
            <a:ext cx="3189176" cy="283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06239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Questions and Chat</a:t>
            </a: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9177A719-81B2-45C8-9167-D18B8D51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614" y="2219179"/>
            <a:ext cx="4226147" cy="451429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77CEC2-88DC-4E38-A893-3A9FCE61D04F}"/>
              </a:ext>
            </a:extLst>
          </p:cNvPr>
          <p:cNvSpPr/>
          <p:nvPr/>
        </p:nvSpPr>
        <p:spPr>
          <a:xfrm>
            <a:off x="4625484" y="5466443"/>
            <a:ext cx="2457450" cy="647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Placeholder 6" descr="A person using a computer&#10;&#10;Description automatically generated">
            <a:extLst>
              <a:ext uri="{FF2B5EF4-FFF2-40B4-BE49-F238E27FC236}">
                <a16:creationId xmlns:a16="http://schemas.microsoft.com/office/drawing/2014/main" id="{9721A5E0-C081-4338-960F-3BABB8CD62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1"/>
          <a:stretch/>
        </p:blipFill>
        <p:spPr>
          <a:xfrm>
            <a:off x="-15384" y="-13743"/>
            <a:ext cx="3696950" cy="7595569"/>
          </a:xfrm>
        </p:spPr>
      </p:pic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19FF5B7B-2CE8-457B-AA45-3BB8E8D59C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1809" y="2164478"/>
            <a:ext cx="2915074" cy="483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4973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2902067" y="2368582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3473656" y="2865400"/>
            <a:ext cx="46388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chemeClr val="accent2"/>
              </a:solidFill>
            </a:endParaRPr>
          </a:p>
          <a:p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Jodi Goldman</a:t>
            </a:r>
          </a:p>
          <a:p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  <a:latin typeface="Palatino" pitchFamily="2" charset="77"/>
              <a:ea typeface="Palatino" pitchFamily="2" charset="77"/>
              <a:cs typeface="Avenir Next" charset="0"/>
            </a:endParaRPr>
          </a:p>
          <a:p>
            <a:r>
              <a:rPr lang="en-US" sz="2000" dirty="0">
                <a:solidFill>
                  <a:schemeClr val="accent1"/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everywoman expert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C305EE2-FF1E-459E-BF85-CCFDFDB9A7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4"/>
          <a:stretch/>
        </p:blipFill>
        <p:spPr bwMode="auto">
          <a:xfrm>
            <a:off x="5957668" y="2368582"/>
            <a:ext cx="3361071" cy="2809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90953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One: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GB" sz="2400" dirty="0">
                <a:solidFill>
                  <a:schemeClr val="accent1"/>
                </a:solidFill>
                <a:latin typeface="Trebuchet MS" panose="020B0603020202020204" pitchFamily="34" charset="0"/>
              </a:rPr>
              <a:t>If someone on your team wasn’t pulling their weight on a project, would you: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</a:t>
            </a:r>
            <a:r>
              <a:rPr lang="en-GB" dirty="0">
                <a:latin typeface="+mn-lt"/>
              </a:rPr>
              <a:t>Tell them calmly and confidently how you felt and what you wanted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</a:t>
            </a:r>
            <a:r>
              <a:rPr lang="en-GB" dirty="0">
                <a:latin typeface="+mn-lt"/>
              </a:rPr>
              <a:t>Get angry about it and complain to someone else for a while before talking to them </a:t>
            </a:r>
          </a:p>
          <a:p>
            <a:endParaRPr lang="en-US" dirty="0">
              <a:latin typeface="+mn-lt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</a:t>
            </a:r>
            <a:r>
              <a:rPr lang="en-GB" dirty="0">
                <a:latin typeface="+mn-lt"/>
              </a:rPr>
              <a:t>Tell them in a sarcastic/angry way to step up </a:t>
            </a:r>
          </a:p>
          <a:p>
            <a:endParaRPr lang="en-US" dirty="0">
              <a:latin typeface="+mn-lt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</a:t>
            </a:r>
            <a:r>
              <a:rPr lang="en-GB" dirty="0">
                <a:latin typeface="+mn-lt"/>
              </a:rPr>
              <a:t>Just get on with it yourself, you do the work better anyway</a:t>
            </a:r>
          </a:p>
          <a:p>
            <a:endParaRPr lang="en-US" dirty="0">
              <a:latin typeface="+mn-l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565924-F7EC-44F7-B9D7-A856BAF4998F}"/>
              </a:ext>
            </a:extLst>
          </p:cNvPr>
          <p:cNvSpPr txBox="1">
            <a:spLocks/>
          </p:cNvSpPr>
          <p:nvPr/>
        </p:nvSpPr>
        <p:spPr>
          <a:xfrm>
            <a:off x="399520" y="7048137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5644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Two: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5375" y="3721490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GB" sz="2200" dirty="0">
                <a:solidFill>
                  <a:schemeClr val="accent1"/>
                </a:solidFill>
                <a:latin typeface="Trebuchet MS" panose="020B0603020202020204" pitchFamily="34" charset="0"/>
              </a:rPr>
              <a:t>If your boss asks you to stay late to do something that they could have asked for ages ago, do you: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</a:t>
            </a:r>
            <a:r>
              <a:rPr lang="en-GB" dirty="0">
                <a:latin typeface="+mn-lt"/>
              </a:rPr>
              <a:t>Apologise and tell them you have plans you can’t change </a:t>
            </a:r>
          </a:p>
          <a:p>
            <a:endParaRPr lang="en-GB" dirty="0">
              <a:latin typeface="+mn-lt"/>
            </a:endParaRP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</a:t>
            </a:r>
            <a:r>
              <a:rPr lang="en-GB" dirty="0">
                <a:latin typeface="+mn-lt"/>
              </a:rPr>
              <a:t>Say yes and be secretly mad about it</a:t>
            </a:r>
          </a:p>
          <a:p>
            <a:endParaRPr lang="en-GB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</a:t>
            </a:r>
            <a:r>
              <a:rPr lang="en-GB" dirty="0">
                <a:latin typeface="+mn-lt"/>
              </a:rPr>
              <a:t>Say no and tell them they should have asked earlier</a:t>
            </a:r>
          </a:p>
          <a:p>
            <a:endParaRPr lang="en-GB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</a:t>
            </a:r>
            <a:r>
              <a:rPr lang="en-GB" dirty="0">
                <a:latin typeface="+mn-lt"/>
              </a:rPr>
              <a:t>Just stay and do it, it’s best not to rock the boat </a:t>
            </a:r>
          </a:p>
          <a:p>
            <a:endParaRPr lang="en-US" dirty="0">
              <a:latin typeface="+mn-l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565924-F7EC-44F7-B9D7-A856BAF4998F}"/>
              </a:ext>
            </a:extLst>
          </p:cNvPr>
          <p:cNvSpPr txBox="1">
            <a:spLocks/>
          </p:cNvSpPr>
          <p:nvPr/>
        </p:nvSpPr>
        <p:spPr>
          <a:xfrm>
            <a:off x="399520" y="7048137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061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Three: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5375" y="3721490"/>
            <a:ext cx="11938369" cy="31705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GB" sz="2200" dirty="0">
                <a:solidFill>
                  <a:schemeClr val="accent1"/>
                </a:solidFill>
                <a:latin typeface="Trebuchet MS" panose="020B0603020202020204" pitchFamily="34" charset="0"/>
              </a:rPr>
              <a:t>You get your order of food in a restaurant and it’s not what you expected / cooked how you asked for it. Do you:</a:t>
            </a:r>
          </a:p>
          <a:p>
            <a:pPr algn="l">
              <a:spcBef>
                <a:spcPts val="450"/>
              </a:spcBef>
            </a:pP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r>
              <a:rPr lang="en-US" sz="2400" b="1" dirty="0">
                <a:solidFill>
                  <a:schemeClr val="accent1"/>
                </a:solidFill>
                <a:latin typeface="Trebuchet MS" panose="020B0603020202020204" pitchFamily="34" charset="0"/>
              </a:rPr>
              <a:t>: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</a:t>
            </a:r>
            <a:r>
              <a:rPr lang="en-GB" dirty="0">
                <a:latin typeface="+mn-lt"/>
              </a:rPr>
              <a:t>Calmly tell the waiter and ask if you can have it replaced</a:t>
            </a:r>
          </a:p>
          <a:p>
            <a:endParaRPr lang="en-GB" dirty="0">
              <a:latin typeface="+mn-lt"/>
            </a:endParaRPr>
          </a:p>
          <a:p>
            <a:endParaRPr lang="en-GB" dirty="0">
              <a:latin typeface="+mn-lt"/>
            </a:endParaRP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B - 		</a:t>
            </a:r>
            <a:r>
              <a:rPr lang="en-GB" dirty="0">
                <a:latin typeface="+mn-lt"/>
              </a:rPr>
              <a:t>Eat it anyway, but post a bad review/tell your friends not to go there</a:t>
            </a:r>
          </a:p>
          <a:p>
            <a:endParaRPr lang="en-GB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C - 		</a:t>
            </a:r>
            <a:r>
              <a:rPr lang="en-GB" dirty="0">
                <a:latin typeface="+mn-lt"/>
              </a:rPr>
              <a:t>Get mad and demand a replacement</a:t>
            </a:r>
          </a:p>
          <a:p>
            <a:endParaRPr lang="en-GB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</a:t>
            </a:r>
            <a:r>
              <a:rPr lang="en-GB" dirty="0">
                <a:latin typeface="+mn-lt"/>
              </a:rPr>
              <a:t>Eat it anyway, you probably didn’t make it clear how you wanted it cooked</a:t>
            </a:r>
          </a:p>
          <a:p>
            <a:endParaRPr lang="en-GB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D565924-F7EC-44F7-B9D7-A856BAF4998F}"/>
              </a:ext>
            </a:extLst>
          </p:cNvPr>
          <p:cNvSpPr txBox="1">
            <a:spLocks/>
          </p:cNvSpPr>
          <p:nvPr/>
        </p:nvSpPr>
        <p:spPr>
          <a:xfrm>
            <a:off x="399520" y="7048137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9388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670FB9-0041-4AA3-82B2-2694D288FF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What being assertive actually mean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4E1E5AD-4BEE-4952-9254-7B6FBB6F505D}"/>
              </a:ext>
            </a:extLst>
          </p:cNvPr>
          <p:cNvSpPr txBox="1">
            <a:spLocks/>
          </p:cNvSpPr>
          <p:nvPr/>
        </p:nvSpPr>
        <p:spPr>
          <a:xfrm>
            <a:off x="399520" y="7041103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13" name="Table 4">
            <a:extLst>
              <a:ext uri="{FF2B5EF4-FFF2-40B4-BE49-F238E27FC236}">
                <a16:creationId xmlns:a16="http://schemas.microsoft.com/office/drawing/2014/main" id="{72365E95-15D2-46A4-9D04-0AAD85143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464645"/>
              </p:ext>
            </p:extLst>
          </p:nvPr>
        </p:nvGraphicFramePr>
        <p:xfrm>
          <a:off x="2658269" y="2197500"/>
          <a:ext cx="8128000" cy="39937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1895866561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3314250035"/>
                    </a:ext>
                  </a:extLst>
                </a:gridCol>
              </a:tblGrid>
              <a:tr h="1996868">
                <a:tc>
                  <a:txBody>
                    <a:bodyPr/>
                    <a:lstStyle/>
                    <a:p>
                      <a:r>
                        <a:rPr lang="en-GB" sz="2800" dirty="0"/>
                        <a:t>Aggressive </a:t>
                      </a:r>
                    </a:p>
                    <a:p>
                      <a:r>
                        <a:rPr lang="en-GB" dirty="0"/>
                        <a:t>(win-lose, I’m OK you’re not OK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ssertive</a:t>
                      </a:r>
                    </a:p>
                    <a:p>
                      <a:r>
                        <a:rPr lang="en-GB" dirty="0"/>
                        <a:t>(win-win, I’m OK you’re OK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54747"/>
                  </a:ext>
                </a:extLst>
              </a:tr>
              <a:tr h="1996868">
                <a:tc>
                  <a:txBody>
                    <a:bodyPr/>
                    <a:lstStyle/>
                    <a:p>
                      <a:r>
                        <a:rPr lang="en-GB" sz="2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assive</a:t>
                      </a:r>
                      <a:r>
                        <a:rPr lang="en-GB" dirty="0"/>
                        <a:t> </a:t>
                      </a:r>
                      <a:r>
                        <a:rPr lang="en-GB" sz="2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ggressive</a:t>
                      </a:r>
                      <a:r>
                        <a:rPr lang="en-GB" dirty="0"/>
                        <a:t> </a:t>
                      </a:r>
                    </a:p>
                    <a:p>
                      <a:r>
                        <a:rPr lang="en-GB" dirty="0"/>
                        <a:t>(lose-lose, I’m not OK, You’re not O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2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ccommodating</a:t>
                      </a:r>
                      <a:r>
                        <a:rPr lang="en-GB" dirty="0"/>
                        <a:t> </a:t>
                      </a:r>
                    </a:p>
                    <a:p>
                      <a:r>
                        <a:rPr lang="en-GB" dirty="0"/>
                        <a:t>(lose-win, I’m not OK, You’re OK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4142411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0EE4F5E6-49F7-471A-A735-E32038A9328D}"/>
              </a:ext>
            </a:extLst>
          </p:cNvPr>
          <p:cNvSpPr txBox="1"/>
          <p:nvPr/>
        </p:nvSpPr>
        <p:spPr>
          <a:xfrm rot="5400000">
            <a:off x="215518" y="4363260"/>
            <a:ext cx="3864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+++++   Confidence        -----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B21FCD-92BD-47EF-9C87-66B1F17BC5AE}"/>
              </a:ext>
            </a:extLst>
          </p:cNvPr>
          <p:cNvSpPr txBox="1"/>
          <p:nvPr/>
        </p:nvSpPr>
        <p:spPr>
          <a:xfrm>
            <a:off x="5494358" y="6391431"/>
            <a:ext cx="3864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+++++   Openness        -----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C8F9DE9-1F0E-4DCB-929E-9A3F597FBC80}"/>
              </a:ext>
            </a:extLst>
          </p:cNvPr>
          <p:cNvSpPr txBox="1">
            <a:spLocks/>
          </p:cNvSpPr>
          <p:nvPr/>
        </p:nvSpPr>
        <p:spPr>
          <a:xfrm>
            <a:off x="8658666" y="7070485"/>
            <a:ext cx="5106514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 dirty="0">
                <a:solidFill>
                  <a:schemeClr val="accent1"/>
                </a:solidFill>
                <a:latin typeface="Trebuchet MS" panose="020B0603020202020204" pitchFamily="34" charset="0"/>
              </a:rPr>
              <a:t>Source: The Face Forward Assertiveness Matrix</a:t>
            </a:r>
          </a:p>
          <a:p>
            <a:pPr algn="l" defTabSz="914400">
              <a:spcBef>
                <a:spcPts val="450"/>
              </a:spcBef>
            </a:pPr>
            <a:endParaRPr lang="en-US" sz="2400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4807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47C82C-A1C6-4F34-AD7B-0ED3D63C47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kern="1200" dirty="0">
                <a:ea typeface="+mn-ea"/>
              </a:rPr>
              <a:t>Why we do i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66A745-DEBD-9A48-B5D2-3774F662EE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Belief in self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Belief in worth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Fear/pain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Defensive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Ego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Need to be liked.</a:t>
            </a:r>
          </a:p>
          <a:p>
            <a:pPr>
              <a:lnSpc>
                <a:spcPct val="150000"/>
              </a:lnSpc>
            </a:pPr>
            <a:endParaRPr lang="en-US" sz="2400" dirty="0"/>
          </a:p>
          <a:p>
            <a:pPr marL="228600" indent="-228600">
              <a:buFont typeface="+mj-lt"/>
              <a:buAutoNum type="arabicPeriod"/>
            </a:pPr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pPr marL="228600" indent="-228600">
              <a:buFont typeface="+mj-lt"/>
              <a:buAutoNum type="arabicPeriod"/>
            </a:pP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A6B3DEA-FF86-4711-9380-21EC44A22817}"/>
              </a:ext>
            </a:extLst>
          </p:cNvPr>
          <p:cNvSpPr txBox="1">
            <a:spLocks/>
          </p:cNvSpPr>
          <p:nvPr/>
        </p:nvSpPr>
        <p:spPr>
          <a:xfrm>
            <a:off x="399520" y="7048137"/>
            <a:ext cx="7634137" cy="492365"/>
          </a:xfrm>
          <a:prstGeom prst="rect">
            <a:avLst/>
          </a:prstGeom>
        </p:spPr>
        <p:txBody>
          <a:bodyPr lIns="0"/>
          <a:lstStyle>
            <a:lvl1pPr marL="0" algn="ctr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l" defTabSz="914400">
              <a:spcBef>
                <a:spcPts val="450"/>
              </a:spcBef>
            </a:pPr>
            <a:r>
              <a:rPr lang="en-US" sz="1600" kern="0">
                <a:solidFill>
                  <a:schemeClr val="accent1"/>
                </a:solidFill>
                <a:latin typeface="Trebuchet MS" panose="020B0603020202020204" pitchFamily="34" charset="0"/>
              </a:rPr>
              <a:t>@everywomanUK</a:t>
            </a:r>
            <a:endParaRPr lang="en-US" sz="18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kern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 defTabSz="914400">
              <a:spcBef>
                <a:spcPts val="450"/>
              </a:spcBef>
            </a:pPr>
            <a:endParaRPr lang="en-US" sz="2400" b="1" kern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pic>
        <p:nvPicPr>
          <p:cNvPr id="9" name="Picture Placeholder 8" descr="A picture containing text, businesscard, envelope&#10;&#10;Description automatically generated">
            <a:extLst>
              <a:ext uri="{FF2B5EF4-FFF2-40B4-BE49-F238E27FC236}">
                <a16:creationId xmlns:a16="http://schemas.microsoft.com/office/drawing/2014/main" id="{91505A01-C0CE-4FA5-9F8D-33CA003A7EC9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50675" t="437" r="3039" b="-437"/>
          <a:stretch/>
        </p:blipFill>
        <p:spPr>
          <a:xfrm>
            <a:off x="8212950" y="-28722"/>
            <a:ext cx="5279456" cy="7602408"/>
          </a:xfrm>
        </p:spPr>
      </p:pic>
    </p:spTree>
    <p:extLst>
      <p:ext uri="{BB962C8B-B14F-4D97-AF65-F5344CB8AC3E}">
        <p14:creationId xmlns:p14="http://schemas.microsoft.com/office/powerpoint/2010/main" val="2147410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48A8829B-5774-4891-9E8B-1593C4C4A3CB}">
  <we:reference id="wa104038830" version="1.0.0.3" store="en-US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8033A711D90040B3829C1AE45B138E" ma:contentTypeVersion="14" ma:contentTypeDescription="Create a new document." ma:contentTypeScope="" ma:versionID="bfa447b3abaa73f8a1e0a5f9e1888987">
  <xsd:schema xmlns:xsd="http://www.w3.org/2001/XMLSchema" xmlns:xs="http://www.w3.org/2001/XMLSchema" xmlns:p="http://schemas.microsoft.com/office/2006/metadata/properties" xmlns:ns2="13bc8d5f-976e-4ee4-8dfa-c1c3e2bfcca8" xmlns:ns3="436efcba-ea16-46f8-8b91-d64e6f1f03e5" targetNamespace="http://schemas.microsoft.com/office/2006/metadata/properties" ma:root="true" ma:fieldsID="55731d9474173da3b050ea503466a646" ns2:_="" ns3:_="">
    <xsd:import namespace="13bc8d5f-976e-4ee4-8dfa-c1c3e2bfcca8"/>
    <xsd:import namespace="436efcba-ea16-46f8-8b91-d64e6f1f03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c8d5f-976e-4ee4-8dfa-c1c3e2bfcc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6efcba-ea16-46f8-8b91-d64e6f1f03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13bc8d5f-976e-4ee4-8dfa-c1c3e2bfcca8" xsi:nil="true"/>
    <SharedWithUsers xmlns="436efcba-ea16-46f8-8b91-d64e6f1f03e5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B2DAE3-0632-4E8D-A13A-A633CE6A29F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3bc8d5f-976e-4ee4-8dfa-c1c3e2bfcca8"/>
    <ds:schemaRef ds:uri="436efcba-ea16-46f8-8b91-d64e6f1f03e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D0D05C5-9432-44E8-8EC2-DFF7E7F9029E}">
  <ds:schemaRefs>
    <ds:schemaRef ds:uri="http://schemas.microsoft.com/office/2006/metadata/propertie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13bc8d5f-976e-4ee4-8dfa-c1c3e2bfcca8"/>
    <ds:schemaRef ds:uri="http://schemas.microsoft.com/office/infopath/2007/PartnerControls"/>
    <ds:schemaRef ds:uri="436efcba-ea16-46f8-8b91-d64e6f1f03e5"/>
    <ds:schemaRef ds:uri="http://purl.org/dc/dcmitype/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BB11E14-E9E7-4026-8075-4E679BB0720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5</Words>
  <Application>Microsoft Office PowerPoint</Application>
  <PresentationFormat>Custom</PresentationFormat>
  <Paragraphs>114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Lato Light</vt:lpstr>
      <vt:lpstr>Montserrat Light</vt:lpstr>
      <vt:lpstr>Palatino</vt:lpstr>
      <vt:lpstr>Palatino Linotype</vt:lpstr>
      <vt:lpstr>Trebuchet MS</vt:lpstr>
      <vt:lpstr>Office Theme</vt:lpstr>
      <vt:lpstr>2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ppa Isbell</dc:creator>
  <cp:lastModifiedBy>Sophie Wannop</cp:lastModifiedBy>
  <cp:revision>152</cp:revision>
  <cp:lastPrinted>2021-06-21T08:36:56Z</cp:lastPrinted>
  <dcterms:created xsi:type="dcterms:W3CDTF">2020-11-22T14:11:28Z</dcterms:created>
  <dcterms:modified xsi:type="dcterms:W3CDTF">2021-07-07T14:5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3389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C18033A711D90040B3829C1AE45B138E</vt:lpwstr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